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2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6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C0C0"/>
    <a:srgbClr val="F6F6F6"/>
    <a:srgbClr val="D9D9D9"/>
    <a:srgbClr val="BDBDBD"/>
    <a:srgbClr val="727272"/>
    <a:srgbClr val="E5E5E5"/>
    <a:srgbClr val="444444"/>
    <a:srgbClr val="EB0000"/>
    <a:srgbClr val="C60018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16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C62A3051-BF84-4A40-99F1-8F3F06102949}"/>
    <pc:docChg chg="modSld">
      <pc:chgData name="Weigel Stefan (PAR-EPS)" userId="fd3b2067-2981-4ad8-bf3a-d2e1004e4fa8" providerId="ADAL" clId="{C62A3051-BF84-4A40-99F1-8F3F06102949}" dt="2024-06-10T12:19:24.063" v="16" actId="20577"/>
      <pc:docMkLst>
        <pc:docMk/>
      </pc:docMkLst>
      <pc:sldChg chg="modSp mod">
        <pc:chgData name="Weigel Stefan (PAR-EPS)" userId="fd3b2067-2981-4ad8-bf3a-d2e1004e4fa8" providerId="ADAL" clId="{C62A3051-BF84-4A40-99F1-8F3F06102949}" dt="2024-06-10T12:19:24.063" v="16" actId="20577"/>
        <pc:sldMkLst>
          <pc:docMk/>
          <pc:sldMk cId="2378578510" sldId="412"/>
        </pc:sldMkLst>
      </pc:sldChg>
    </pc:docChg>
  </pc:docChgLst>
  <pc:docChgLst>
    <pc:chgData name="Weigel Stefan (PAR-ES)" userId="fd3b2067-2981-4ad8-bf3a-d2e1004e4fa8" providerId="ADAL" clId="{4B46DB56-8236-4DFF-AD3A-85DA5FB070E2}"/>
    <pc:docChg chg="custSel modSld">
      <pc:chgData name="Weigel Stefan (PAR-ES)" userId="fd3b2067-2981-4ad8-bf3a-d2e1004e4fa8" providerId="ADAL" clId="{4B46DB56-8236-4DFF-AD3A-85DA5FB070E2}" dt="2023-06-05T14:35:30.620" v="68" actId="27918"/>
      <pc:docMkLst>
        <pc:docMk/>
      </pc:docMkLst>
      <pc:sldChg chg="modSp mod">
        <pc:chgData name="Weigel Stefan (PAR-ES)" userId="fd3b2067-2981-4ad8-bf3a-d2e1004e4fa8" providerId="ADAL" clId="{4B46DB56-8236-4DFF-AD3A-85DA5FB070E2}" dt="2023-06-05T14:35:30.620" v="68" actId="27918"/>
        <pc:sldMkLst>
          <pc:docMk/>
          <pc:sldMk cId="2378578510" sldId="412"/>
        </pc:sldMkLst>
      </pc:sldChg>
    </pc:docChg>
  </pc:docChgLst>
  <pc:docChgLst>
    <pc:chgData name="Weigel Stefan (PAR-ES)" userId="fd3b2067-2981-4ad8-bf3a-d2e1004e4fa8" providerId="ADAL" clId="{C33823CC-8C54-4D38-AE0F-1937C6FCF159}"/>
    <pc:docChg chg="undo custSel modSld">
      <pc:chgData name="Weigel Stefan (PAR-ES)" userId="fd3b2067-2981-4ad8-bf3a-d2e1004e4fa8" providerId="ADAL" clId="{C33823CC-8C54-4D38-AE0F-1937C6FCF159}" dt="2022-12-08T15:39:35.006" v="100" actId="20577"/>
      <pc:docMkLst>
        <pc:docMk/>
      </pc:docMkLst>
      <pc:sldChg chg="addSp delSp modSp mod">
        <pc:chgData name="Weigel Stefan (PAR-ES)" userId="fd3b2067-2981-4ad8-bf3a-d2e1004e4fa8" providerId="ADAL" clId="{C33823CC-8C54-4D38-AE0F-1937C6FCF159}" dt="2022-12-08T15:39:35.006" v="100" actId="20577"/>
        <pc:sldMkLst>
          <pc:docMk/>
          <pc:sldMk cId="2378578510" sldId="412"/>
        </pc:sldMkLst>
      </pc:sldChg>
    </pc:docChg>
  </pc:docChgLst>
  <pc:docChgLst>
    <pc:chgData name="Weigel Stefan (PAR-ES)" userId="fd3b2067-2981-4ad8-bf3a-d2e1004e4fa8" providerId="ADAL" clId="{A960615E-EB95-4422-B313-59381D4A110F}"/>
    <pc:docChg chg="modSld">
      <pc:chgData name="Weigel Stefan (PAR-ES)" userId="fd3b2067-2981-4ad8-bf3a-d2e1004e4fa8" providerId="ADAL" clId="{A960615E-EB95-4422-B313-59381D4A110F}" dt="2023-06-05T14:29:08.001" v="70" actId="27918"/>
      <pc:docMkLst>
        <pc:docMk/>
      </pc:docMkLst>
      <pc:sldChg chg="modSp mod">
        <pc:chgData name="Weigel Stefan (PAR-ES)" userId="fd3b2067-2981-4ad8-bf3a-d2e1004e4fa8" providerId="ADAL" clId="{A960615E-EB95-4422-B313-59381D4A110F}" dt="2023-06-05T14:29:08.001" v="70" actId="27918"/>
        <pc:sldMkLst>
          <pc:docMk/>
          <pc:sldMk cId="2378578510" sldId="412"/>
        </pc:sldMkLst>
      </pc:sldChg>
    </pc:docChg>
  </pc:docChgLst>
  <pc:docChgLst>
    <pc:chgData name="Weigel Stefan (PAR-EPS)" userId="fd3b2067-2981-4ad8-bf3a-d2e1004e4fa8" providerId="ADAL" clId="{E28FC802-3A51-4C19-97DF-EDF3F999A681}"/>
    <pc:docChg chg="modSld">
      <pc:chgData name="Weigel Stefan (PAR-EPS)" userId="fd3b2067-2981-4ad8-bf3a-d2e1004e4fa8" providerId="ADAL" clId="{E28FC802-3A51-4C19-97DF-EDF3F999A681}" dt="2025-04-25T14:38:24.331" v="34" actId="27918"/>
      <pc:docMkLst>
        <pc:docMk/>
      </pc:docMkLst>
      <pc:sldChg chg="modSp mod">
        <pc:chgData name="Weigel Stefan (PAR-EPS)" userId="fd3b2067-2981-4ad8-bf3a-d2e1004e4fa8" providerId="ADAL" clId="{E28FC802-3A51-4C19-97DF-EDF3F999A681}" dt="2025-04-25T14:38:24.331" v="34" actId="27918"/>
        <pc:sldMkLst>
          <pc:docMk/>
          <pc:sldMk cId="2378578510" sldId="412"/>
        </pc:sldMkLst>
        <pc:spChg chg="mod">
          <ac:chgData name="Weigel Stefan (PAR-EPS)" userId="fd3b2067-2981-4ad8-bf3a-d2e1004e4fa8" providerId="ADAL" clId="{E28FC802-3A51-4C19-97DF-EDF3F999A681}" dt="2025-04-25T14:36:31.034" v="28" actId="20577"/>
          <ac:spMkLst>
            <pc:docMk/>
            <pc:sldMk cId="2378578510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E28FC802-3A51-4C19-97DF-EDF3F999A681}" dt="2025-04-25T14:26:00.855" v="0" actId="6549"/>
          <ac:spMkLst>
            <pc:docMk/>
            <pc:sldMk cId="2378578510" sldId="412"/>
            <ac:spMk id="10" creationId="{7C1F5462-CEF0-4F61-8CF0-966B6E3CE5FA}"/>
          </ac:spMkLst>
        </pc:spChg>
        <pc:spChg chg="mod">
          <ac:chgData name="Weigel Stefan (PAR-EPS)" userId="fd3b2067-2981-4ad8-bf3a-d2e1004e4fa8" providerId="ADAL" clId="{E28FC802-3A51-4C19-97DF-EDF3F999A681}" dt="2025-04-25T14:26:23.878" v="12" actId="20577"/>
          <ac:spMkLst>
            <pc:docMk/>
            <pc:sldMk cId="2378578510" sldId="412"/>
            <ac:spMk id="11" creationId="{CAAD78FC-EBAB-42C7-8FC8-FD065083F07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36688667121836"/>
          <c:y val="4.3209984459797866E-2"/>
          <c:w val="0.68332967651412979"/>
          <c:h val="0.685766700242007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data!$G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1CA-4EBE-982D-7600ECF50D19}"/>
              </c:ext>
            </c:extLst>
          </c:dPt>
          <c:cat>
            <c:strRef>
              <c:f>data!$G$4:$G$15</c:f>
              <c:strCache>
                <c:ptCount val="12"/>
                <c:pt idx="0">
                  <c:v>Zürich Flughafen</c:v>
                </c:pt>
                <c:pt idx="1">
                  <c:v>Zürich Hardbrücke</c:v>
                </c:pt>
                <c:pt idx="2">
                  <c:v>Zürich Stadelhofen</c:v>
                </c:pt>
                <c:pt idx="3">
                  <c:v>Olten</c:v>
                </c:pt>
                <c:pt idx="4">
                  <c:v>Genève</c:v>
                </c:pt>
                <c:pt idx="5">
                  <c:v>Zürich Oerlikon</c:v>
                </c:pt>
                <c:pt idx="6">
                  <c:v>Basel SBB</c:v>
                </c:pt>
                <c:pt idx="7">
                  <c:v>Luzern</c:v>
                </c:pt>
                <c:pt idx="8">
                  <c:v>Lausanne</c:v>
                </c:pt>
                <c:pt idx="9">
                  <c:v>Winterthur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H$4:$H$15</c:f>
              <c:numCache>
                <c:formatCode>#,##0</c:formatCode>
                <c:ptCount val="12"/>
                <c:pt idx="0">
                  <c:v>52900</c:v>
                </c:pt>
                <c:pt idx="1">
                  <c:v>61400</c:v>
                </c:pt>
                <c:pt idx="2">
                  <c:v>83700</c:v>
                </c:pt>
                <c:pt idx="3">
                  <c:v>84500</c:v>
                </c:pt>
                <c:pt idx="4">
                  <c:v>89800</c:v>
                </c:pt>
                <c:pt idx="5">
                  <c:v>98100</c:v>
                </c:pt>
                <c:pt idx="6">
                  <c:v>109000</c:v>
                </c:pt>
                <c:pt idx="7">
                  <c:v>109800</c:v>
                </c:pt>
                <c:pt idx="8">
                  <c:v>112600</c:v>
                </c:pt>
                <c:pt idx="9">
                  <c:v>114300</c:v>
                </c:pt>
                <c:pt idx="10">
                  <c:v>193100</c:v>
                </c:pt>
                <c:pt idx="11">
                  <c:v>438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CA-4EBE-982D-7600ECF50D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9945472"/>
        <c:axId val="139943936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$I$1</c15:sqref>
                        </c15:formulaRef>
                      </c:ext>
                    </c:extLst>
                    <c:strCache>
                      <c:ptCount val="1"/>
                      <c:pt idx="0">
                        <c:v>2018</c:v>
                      </c:pt>
                    </c:strCache>
                  </c:strRef>
                </c:tx>
                <c:spPr>
                  <a:solidFill>
                    <a:srgbClr val="C0C0C0"/>
                  </a:solidFill>
                </c:spPr>
                <c:invertIfNegative val="0"/>
                <c:val>
                  <c:numRef>
                    <c:extLst>
                      <c:ext uri="{02D57815-91ED-43cb-92C2-25804820EDAC}">
                        <c15:formulaRef>
                          <c15:sqref>data!$I$4:$I$15</c15:sqref>
                        </c15:formulaRef>
                      </c:ext>
                    </c:extLst>
                    <c:numCache>
                      <c:formatCode>#,##0</c:formatCode>
                      <c:ptCount val="12"/>
                      <c:pt idx="0">
                        <c:v>52500</c:v>
                      </c:pt>
                      <c:pt idx="1">
                        <c:v>59700</c:v>
                      </c:pt>
                      <c:pt idx="2">
                        <c:v>82800</c:v>
                      </c:pt>
                      <c:pt idx="3">
                        <c:v>83000</c:v>
                      </c:pt>
                      <c:pt idx="4">
                        <c:v>70700</c:v>
                      </c:pt>
                      <c:pt idx="5">
                        <c:v>94700</c:v>
                      </c:pt>
                      <c:pt idx="6">
                        <c:v>111000</c:v>
                      </c:pt>
                      <c:pt idx="7">
                        <c:v>97900</c:v>
                      </c:pt>
                      <c:pt idx="8">
                        <c:v>102500</c:v>
                      </c:pt>
                      <c:pt idx="9">
                        <c:v>109300</c:v>
                      </c:pt>
                      <c:pt idx="10">
                        <c:v>206400</c:v>
                      </c:pt>
                      <c:pt idx="11">
                        <c:v>47130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8329-4BC0-B2A2-0C7A0E889DD6}"/>
                  </c:ext>
                </c:extLst>
              </c15:ser>
            </c15:filteredBarSeries>
          </c:ext>
        </c:extLst>
      </c:barChart>
      <c:valAx>
        <c:axId val="139943936"/>
        <c:scaling>
          <c:orientation val="minMax"/>
        </c:scaling>
        <c:delete val="0"/>
        <c:axPos val="b"/>
        <c:majorGridlines/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139945472"/>
        <c:crosses val="autoZero"/>
        <c:crossBetween val="between"/>
        <c:majorUnit val="100000"/>
      </c:valAx>
      <c:catAx>
        <c:axId val="1399454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crossAx val="139943936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5.04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05204AB-07B8-4463-897A-7AAA87D1D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05204AB-07B8-4463-897A-7AAA87D1D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D73BCCFE-9C49-4674-8A05-73BACB5E5D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ffluence des voyageurs dans les gares </a:t>
            </a:r>
            <a:r>
              <a:rPr lang="fr-FR"/>
              <a:t>en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50295322"/>
              </p:ext>
            </p:extLst>
          </p:nvPr>
        </p:nvGraphicFramePr>
        <p:xfrm>
          <a:off x="388189" y="1652791"/>
          <a:ext cx="11252949" cy="5205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7C1F5462-CEF0-4F61-8CF0-966B6E3CE5F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ombre moyen d’embarquements et de débarquements par jour ouvré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AAD78FC-EBAB-42C7-8FC8-FD065083F070}"/>
              </a:ext>
            </a:extLst>
          </p:cNvPr>
          <p:cNvSpPr txBox="1"/>
          <p:nvPr/>
        </p:nvSpPr>
        <p:spPr>
          <a:xfrm>
            <a:off x="1487489" y="6106515"/>
            <a:ext cx="7937248" cy="46166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Les 12 gares les plus fréquentées sont représentées, en tenant compte des personnes montant et descendant des trains du chemin de fer; Zürich </a:t>
            </a:r>
            <a:r>
              <a:rPr lang="fr-FR" sz="1000" kern="0" dirty="0">
                <a:solidFill>
                  <a:srgbClr val="444444"/>
                </a:solidFill>
                <a:latin typeface="SBB Light"/>
              </a:rPr>
              <a:t>HB: sans SZU; </a:t>
            </a:r>
            <a:r>
              <a: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Bern: sans RBS; Basel SBB et Genève: les personnes montant et descendant des trains de et vers l’étranger ne sont que partiellement recensées; Zürich Stadelhofen: sans FB. Référence: année d’horaire 2024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39770BBD-8851-4CD7-9A78-C7E91EAFC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378578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XLvQNESZ6lzyxrEfKKj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6E9BED6-870D-4770-9CFB-4B315FBAE9B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96e82a89-ba48-4728-b345-cf206dbec8f1"/>
    <ds:schemaRef ds:uri="http://purl.org/dc/terms/"/>
    <ds:schemaRef ds:uri="http://schemas.microsoft.com/office/2006/documentManagement/types"/>
    <ds:schemaRef ds:uri="2f5c8543-cf23-4718-a3b8-32b0a91d511a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7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Affluence des voyageurs dans les gares en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ffluence des voyageurs dans les gares en 2024.</dc:title>
  <dc:creator>Meyer Raphael (KOM-PGA-VSF)</dc:creator>
  <cp:lastModifiedBy>Stefan Weigel (PAR-EPS)</cp:lastModifiedBy>
  <cp:revision>57</cp:revision>
  <dcterms:created xsi:type="dcterms:W3CDTF">2020-09-30T11:00:09Z</dcterms:created>
  <dcterms:modified xsi:type="dcterms:W3CDTF">2025-04-25T14:3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